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theme/theme1.xml" ContentType="application/vnd.openxmlformats-officedocument.theme+xml"/>
  <Default Extension="jpeg" ContentType="image/jpeg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18"/>
  </p:notesMasterIdLst>
  <p:sldIdLst>
    <p:sldId id="307" r:id="rId3"/>
    <p:sldId id="308" r:id="rId4"/>
    <p:sldId id="331" r:id="rId5"/>
    <p:sldId id="258" r:id="rId6"/>
    <p:sldId id="321" r:id="rId7"/>
    <p:sldId id="301" r:id="rId8"/>
    <p:sldId id="330" r:id="rId9"/>
    <p:sldId id="329" r:id="rId10"/>
    <p:sldId id="275" r:id="rId11"/>
    <p:sldId id="328" r:id="rId12"/>
    <p:sldId id="306" r:id="rId13"/>
    <p:sldId id="322" r:id="rId14"/>
    <p:sldId id="323" r:id="rId15"/>
    <p:sldId id="324" r:id="rId16"/>
    <p:sldId id="318" r:id="rId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arma, Akshay" initials="SA" lastIdx="1" clrIdx="0">
    <p:extLst>
      <p:ext uri="{19B8F6BF-5375-455C-9EA6-DF929625EA0E}">
        <p15:presenceInfo xmlns:p15="http://schemas.microsoft.com/office/powerpoint/2012/main" xmlns="" userId="S-1-5-21-1531082355-734649621-3782574898-269613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9158" autoAdjust="0"/>
    <p:restoredTop sz="94660"/>
  </p:normalViewPr>
  <p:slideViewPr>
    <p:cSldViewPr>
      <p:cViewPr varScale="1">
        <p:scale>
          <a:sx n="70" d="100"/>
          <a:sy n="70" d="100"/>
        </p:scale>
        <p:origin x="-1086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pPr/>
              <a:t>8/5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xmlns="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pPr/>
              <a:t>8/5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pPr/>
              <a:t>8/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pPr/>
              <a:t>8/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8/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8/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8/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8/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8/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8/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8/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8/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pPr/>
              <a:t>8/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8/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8/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8/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pPr/>
              <a:t>8/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pPr/>
              <a:t>8/5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pPr/>
              <a:t>8/5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pPr/>
              <a:t>8/5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pPr/>
              <a:t>8/5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pPr/>
              <a:t>8/5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pPr/>
              <a:t>8/5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pPr/>
              <a:t>8/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August 5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ObjectRepository.xls" TargetMode="External"/><Relationship Id="rId2" Type="http://schemas.openxmlformats.org/officeDocument/2006/relationships/hyperlink" Target="DEFECT%20REPORT.xlsx" TargetMode="External"/><Relationship Id="rId1" Type="http://schemas.openxmlformats.org/officeDocument/2006/relationships/slideLayout" Target="../slideLayouts/slideLayout13.xml"/><Relationship Id="rId5" Type="http://schemas.openxmlformats.org/officeDocument/2006/relationships/hyperlink" Target="TestCaseFinal.xlsx" TargetMode="External"/><Relationship Id="rId4" Type="http://schemas.openxmlformats.org/officeDocument/2006/relationships/hyperlink" Target="Data_Sheet.xls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demo.opencart.com/index.php?route=common/home" TargetMode="Externa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1219200" y="1699370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OpenCart – Home and Login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288093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2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720" y="1285860"/>
            <a:ext cx="8324880" cy="5072098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iciency is number of test cases executed divided by unit of time (generally per hour).</a:t>
            </a: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l">
              <a:buClr>
                <a:schemeClr val="tx1"/>
              </a:buClr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Test Efficiency test the amount of code and testing resources required by a program to perform a particular function.</a:t>
            </a:r>
          </a:p>
          <a:p>
            <a:pPr marL="457200" indent="-457200" algn="l">
              <a:buClr>
                <a:schemeClr val="tx1"/>
              </a:buClr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me formulas to calculate 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iciency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 (for different factors):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457200" indent="-457200" algn="l">
              <a:buClrTx/>
              <a:buFont typeface="+mj-lt"/>
              <a:buAutoNum type="arabicPeriod"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Test efficiency 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= (total number of defects found in unit + integration + system) / (total number of defects found in unit + integration + system + User acceptance testing)</a:t>
            </a: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457200" indent="-457200" algn="l">
              <a:buClrTx/>
              <a:buFont typeface="+mj-lt"/>
              <a:buAutoNum type="arabicPeriod"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Testing Efficiency 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= (No. of defects Resolved / Total No. of Defects Submitted)* 100</a:t>
            </a:r>
          </a:p>
          <a:p>
            <a:pPr marL="457200" indent="-457200" algn="l">
              <a:buFont typeface="+mj-lt"/>
              <a:buAutoNum type="arabicPeriod"/>
            </a:pP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l">
              <a:buClrTx/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ectiveness: Software Test Effectiveness covers three aspects: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much the customer's requirements are satisfied by the system.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well the customer specifications are achieved by the system.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much effort is put in developing the system.</a:t>
            </a:r>
            <a:r>
              <a:rPr lang="en-IN" dirty="0" smtClean="0">
                <a:cs typeface="Arial" panose="020B0604020202020204" pitchFamily="34" charset="0"/>
              </a:rPr>
              <a:t/>
            </a:r>
            <a:br>
              <a:rPr lang="en-IN" dirty="0" smtClean="0">
                <a:cs typeface="Arial" panose="020B0604020202020204" pitchFamily="34" charset="0"/>
              </a:rPr>
            </a:br>
            <a:endParaRPr lang="en-US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45003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990600"/>
            <a:ext cx="8229600" cy="5059363"/>
          </a:xfrm>
        </p:spPr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Test case passed efficiency -&gt;     		49.09 %  80.59%</a:t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fail efficiency -&gt;            		50.90% 19.40%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Test case automated efficiency -&gt; 		 98.14% </a:t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non automated efficiency-&gt;	 01.85%</a:t>
            </a:r>
          </a:p>
          <a:p>
            <a:pPr marL="0" indent="0">
              <a:buNone/>
            </a:pPr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33400" y="152400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400" b="1" dirty="0" smtClean="0">
                <a:latin typeface="Candara" panose="020E0502030303020204" pitchFamily="34" charset="0"/>
              </a:rPr>
              <a:t>Test Case Efficiency </a:t>
            </a:r>
            <a:endParaRPr lang="en-IN" sz="2400" b="1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74702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Object Repository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83163"/>
          </a:xfrm>
        </p:spPr>
        <p:txBody>
          <a:bodyPr/>
          <a:lstStyle/>
          <a:p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Object </a:t>
            </a:r>
            <a:r>
              <a:rPr lang="en-US" b="0" dirty="0">
                <a:solidFill>
                  <a:schemeClr val="tx1"/>
                </a:solidFill>
              </a:rPr>
              <a:t>Repository is a collection of object and properties with which </a:t>
            </a:r>
            <a:r>
              <a:rPr lang="en-US" b="0" dirty="0" smtClean="0">
                <a:solidFill>
                  <a:schemeClr val="tx1"/>
                </a:solidFill>
              </a:rPr>
              <a:t>selenium webdriver </a:t>
            </a:r>
            <a:r>
              <a:rPr lang="en-US" b="0" dirty="0">
                <a:solidFill>
                  <a:schemeClr val="tx1"/>
                </a:solidFill>
              </a:rPr>
              <a:t>will be able to recognize the objects and act on it. </a:t>
            </a:r>
            <a:r>
              <a:rPr lang="en-US" b="0" dirty="0" smtClean="0">
                <a:solidFill>
                  <a:schemeClr val="tx1"/>
                </a:solidFill>
              </a:rPr>
              <a:t/>
            </a:r>
            <a:br>
              <a:rPr lang="en-US" b="0" dirty="0" smtClean="0">
                <a:solidFill>
                  <a:schemeClr val="tx1"/>
                </a:solidFill>
              </a:rPr>
            </a:br>
            <a:r>
              <a:rPr lang="en-US" b="0" dirty="0" smtClean="0">
                <a:solidFill>
                  <a:schemeClr val="tx1"/>
                </a:solidFill>
              </a:rPr>
              <a:t/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When </a:t>
            </a:r>
            <a:r>
              <a:rPr lang="en-US" b="0" dirty="0">
                <a:solidFill>
                  <a:schemeClr val="tx1"/>
                </a:solidFill>
              </a:rPr>
              <a:t>a user records a test, the objects and its properties are captured by default</a:t>
            </a:r>
            <a:r>
              <a:rPr lang="en-US" b="0" dirty="0" smtClean="0">
                <a:solidFill>
                  <a:schemeClr val="tx1"/>
                </a:solidFill>
              </a:rPr>
              <a:t>.</a:t>
            </a:r>
            <a:br>
              <a:rPr lang="en-US" b="0" dirty="0" smtClean="0">
                <a:solidFill>
                  <a:schemeClr val="tx1"/>
                </a:solidFill>
              </a:rPr>
            </a:br>
            <a:r>
              <a:rPr lang="en-US" b="0" dirty="0" smtClean="0">
                <a:solidFill>
                  <a:schemeClr val="tx1"/>
                </a:solidFill>
              </a:rPr>
              <a:t/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 </a:t>
            </a:r>
            <a:r>
              <a:rPr lang="en-US" b="0" dirty="0">
                <a:solidFill>
                  <a:schemeClr val="tx1"/>
                </a:solidFill>
              </a:rPr>
              <a:t>Without understanding objects and its properties, selenium webdriver will NOT be able to play back the scripts.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837924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DFDR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5257800"/>
          </a:xfrm>
        </p:spPr>
        <p:txBody>
          <a:bodyPr/>
          <a:lstStyle/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DFDR stands for Defect Free Defect Reporting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A defect is an error or a bug, in the application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 A programmer while designing and building the software can make mistakes or error.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These mistakes or errors mean that there are flaws in the software. These are called defects.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These defects are captured in a defect report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87237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DFDR, Object Repository &amp; Data Sheet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5060950"/>
          </a:xfrm>
        </p:spPr>
        <p:txBody>
          <a:bodyPr/>
          <a:lstStyle/>
          <a:p>
            <a:pPr algn="ctr"/>
            <a:endParaRPr lang="en-US" b="0" dirty="0" smtClean="0">
              <a:solidFill>
                <a:schemeClr val="tx1"/>
              </a:solidFill>
              <a:hlinkClick r:id="rId2" action="ppaction://hlinkfile"/>
            </a:endParaRPr>
          </a:p>
          <a:p>
            <a:pPr marL="0" indent="0" algn="ctr">
              <a:buNone/>
            </a:pPr>
            <a:endParaRPr lang="en-US" b="0" dirty="0" smtClean="0">
              <a:solidFill>
                <a:schemeClr val="tx1"/>
              </a:solidFill>
              <a:hlinkClick r:id="rId2" action="ppaction://hlinkfile"/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2" action="ppaction://hlinkfile"/>
              </a:rPr>
              <a:t>Defect Sheet</a:t>
            </a:r>
            <a:endParaRPr lang="en-US" b="0" dirty="0" smtClean="0">
              <a:solidFill>
                <a:schemeClr val="tx1"/>
              </a:solidFill>
            </a:endParaRPr>
          </a:p>
          <a:p>
            <a:pPr algn="just"/>
            <a:endParaRPr lang="en-US" b="0" dirty="0" smtClean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3" action="ppaction://hlinkfile"/>
              </a:rPr>
              <a:t>Object Repository</a:t>
            </a:r>
            <a:endParaRPr lang="en-US" b="0" dirty="0" smtClean="0">
              <a:solidFill>
                <a:schemeClr val="tx1"/>
              </a:solidFill>
            </a:endParaRPr>
          </a:p>
          <a:p>
            <a:pPr algn="just"/>
            <a:endParaRPr lang="en-US" b="0" dirty="0" smtClean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4" action="ppaction://hlinkfile"/>
              </a:rPr>
              <a:t>Data Sheet</a:t>
            </a:r>
            <a:endParaRPr lang="en-US" b="0" dirty="0" smtClean="0">
              <a:solidFill>
                <a:schemeClr val="tx1"/>
              </a:solidFill>
            </a:endParaRPr>
          </a:p>
          <a:p>
            <a:pPr algn="just"/>
            <a:endParaRPr lang="en-US" b="0" dirty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5" action="ppaction://hlinkfile"/>
              </a:rPr>
              <a:t>Test Cases</a:t>
            </a:r>
            <a:endParaRPr lang="en-US" b="0" dirty="0" smtClean="0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en-US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91281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3969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/>
              <a:t>TEAM MEMBERS</a:t>
            </a:r>
            <a:endParaRPr lang="en-IN" sz="36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295400"/>
            <a:ext cx="8458200" cy="5105400"/>
          </a:xfrm>
        </p:spPr>
        <p:txBody>
          <a:bodyPr/>
          <a:lstStyle/>
          <a:p>
            <a:pPr marL="0" indent="0">
              <a:buNone/>
            </a:pP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IN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IN" dirty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B. Sri Vani</a:t>
            </a:r>
            <a:r>
              <a:rPr lang="en-IN" dirty="0">
                <a:solidFill>
                  <a:schemeClr val="tx1"/>
                </a:solidFill>
                <a:cs typeface="Arial" panose="020B0604020202020204" pitchFamily="34" charset="0"/>
              </a:rPr>
              <a:t>		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                                                       150682</a:t>
            </a: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r>
              <a:rPr lang="en-IN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Ch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 . </a:t>
            </a:r>
            <a:r>
              <a:rPr lang="en-IN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Anudeep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			                  150701</a:t>
            </a: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Ch. Lakshmi </a:t>
            </a:r>
            <a:r>
              <a:rPr lang="en-IN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Kalyani</a:t>
            </a:r>
            <a:r>
              <a:rPr lang="en-IN" dirty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                                                       150702		                  </a:t>
            </a: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B. </a:t>
            </a:r>
            <a:r>
              <a:rPr lang="en-IN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SreeLekha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				150683</a:t>
            </a: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endParaRPr lang="en-IN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49129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Application Link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marL="0" indent="0" algn="ctr">
              <a:buNone/>
            </a:pPr>
            <a:r>
              <a:rPr lang="en-US" dirty="0" smtClean="0">
                <a:hlinkClick r:id="rId2"/>
              </a:rPr>
              <a:t>The OpenCart demo stor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46003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OVERVIEW OF THE PROJECT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0600"/>
            <a:ext cx="8229600" cy="5135563"/>
          </a:xfrm>
        </p:spPr>
        <p:txBody>
          <a:bodyPr>
            <a:normAutofit/>
          </a:bodyPr>
          <a:lstStyle/>
          <a:p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It is a web based application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endParaRPr lang="en-US" sz="2400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buNone/>
            </a:pPr>
            <a:endParaRPr lang="en-US" sz="2400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Project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aims at testing </a:t>
            </a: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an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online shopping application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</a:p>
          <a:p>
            <a:pPr>
              <a:buNone/>
            </a:pPr>
            <a:endParaRPr lang="en-US" sz="2400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Register, Login in to the web page.</a:t>
            </a:r>
          </a:p>
          <a:p>
            <a:pPr>
              <a:buNone/>
            </a:pPr>
            <a:endParaRPr lang="en-US" sz="2400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can change the currency according to his preference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</a:p>
          <a:p>
            <a:pPr>
              <a:buNone/>
            </a:pPr>
            <a:endParaRPr lang="en-US" sz="2400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select and add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the electronic device to the cart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sz="2400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77467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Flow Steps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8316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Home and Login :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Opens the website when we click on link and the user can login after entering the valid username and password. 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The common functions for add to cart are :</a:t>
            </a: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OpenWebsite() – Opens the browser as per the data_sheet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LoginUser() – opens the login page of the site  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9823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04800" y="1295400"/>
            <a:ext cx="8382000" cy="5257800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Register :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Opens the website when we click on link and the user can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Register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after entering the valid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details.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openWebsite()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– Opens the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browser.</a:t>
            </a: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goToRegistrationPage () – directs the user to the Registration entries page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isResultElementPresent() – checks whether a specific alert or field is present or not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81000" y="164933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latin typeface="Baskerville Old Face" pitchFamily="18" charset="0"/>
              </a:rPr>
              <a:t>Flow Steps (Continued)</a:t>
            </a:r>
            <a:endParaRPr lang="en-US" sz="4000" dirty="0">
              <a:latin typeface="Baskerville Old Fac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5900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Feasibility</a:t>
            </a:r>
            <a:r>
              <a:rPr lang="en-US" dirty="0" smtClean="0"/>
              <a:t> </a:t>
            </a:r>
            <a:r>
              <a:rPr lang="en-US" b="1" dirty="0"/>
              <a:t>S</a:t>
            </a:r>
            <a:r>
              <a:rPr lang="en-US" b="1" dirty="0" smtClean="0"/>
              <a:t>tudy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Change in preferred Currency can not be retained by the website after re-login the website in different browser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Address is not editable in given address book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New address can not be added.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774047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Challenges Faced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Integrating test cases, defects within one file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Problems in running test cases in different browsers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Fetching data from excel sheets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Handling data sheet and object repository in .xlsx format.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602236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Test Cases</a:t>
            </a:r>
            <a:endParaRPr lang="en-US" b="1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9</a:t>
            </a:fld>
            <a:endParaRPr lang="en-US" dirty="0"/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863284339"/>
              </p:ext>
            </p:extLst>
          </p:nvPr>
        </p:nvGraphicFramePr>
        <p:xfrm>
          <a:off x="76198" y="1524000"/>
          <a:ext cx="8991604" cy="3886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0088"/>
                <a:gridCol w="1284606"/>
                <a:gridCol w="1284606"/>
                <a:gridCol w="1057910"/>
                <a:gridCol w="1141869"/>
                <a:gridCol w="898386"/>
                <a:gridCol w="831215"/>
                <a:gridCol w="988694"/>
                <a:gridCol w="824230"/>
              </a:tblGrid>
              <a:tr h="1110343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Total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Automa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Non-Automa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Browser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Test</a:t>
                      </a:r>
                      <a:r>
                        <a:rPr lang="en-US" baseline="0" dirty="0" smtClean="0">
                          <a:latin typeface="Candara" panose="020E0502030303020204" pitchFamily="34" charset="0"/>
                        </a:rPr>
                        <a:t> Execu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Pass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Fail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Defects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No Run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7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34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Mozilla Firefox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4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7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Candara" panose="020E0502030303020204" pitchFamily="34" charset="0"/>
                        </a:rPr>
                        <a:t>34</a:t>
                      </a:r>
                    </a:p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Internet Explorer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4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7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Candara" panose="020E0502030303020204" pitchFamily="34" charset="0"/>
                        </a:rPr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Google</a:t>
                      </a:r>
                      <a:r>
                        <a:rPr lang="en-US" baseline="0" dirty="0" smtClean="0">
                          <a:latin typeface="Candara" panose="020E0502030303020204" pitchFamily="34" charset="0"/>
                        </a:rPr>
                        <a:t> Chrome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4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444137"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171535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14</TotalTime>
  <Words>388</Words>
  <Application>Microsoft Office PowerPoint</Application>
  <PresentationFormat>On-screen Show (4:3)</PresentationFormat>
  <Paragraphs>127</Paragraphs>
  <Slides>15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17" baseType="lpstr">
      <vt:lpstr>Executive</vt:lpstr>
      <vt:lpstr>Office Theme</vt:lpstr>
      <vt:lpstr>Slide 1</vt:lpstr>
      <vt:lpstr>TEAM MEMBERS</vt:lpstr>
      <vt:lpstr>Application Link </vt:lpstr>
      <vt:lpstr>OVERVIEW OF THE PROJECT</vt:lpstr>
      <vt:lpstr>Flow Steps</vt:lpstr>
      <vt:lpstr>Slide 6</vt:lpstr>
      <vt:lpstr>Feasibility Study</vt:lpstr>
      <vt:lpstr>Challenges Faced</vt:lpstr>
      <vt:lpstr>Test Cases</vt:lpstr>
      <vt:lpstr>Test Case Effectiveness</vt:lpstr>
      <vt:lpstr>Slide 11</vt:lpstr>
      <vt:lpstr>Object Repository </vt:lpstr>
      <vt:lpstr>DFDR</vt:lpstr>
      <vt:lpstr>DFDR, Object Repository &amp; Data Sheet </vt:lpstr>
      <vt:lpstr>Slide 1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DELL STORE</cp:lastModifiedBy>
  <cp:revision>192</cp:revision>
  <dcterms:created xsi:type="dcterms:W3CDTF">2015-08-27T08:52:20Z</dcterms:created>
  <dcterms:modified xsi:type="dcterms:W3CDTF">2018-08-05T17:46:06Z</dcterms:modified>
</cp:coreProperties>
</file>